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82874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83059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hyperlink" Target="https://www.youtube.com/watch?v=giWIr7U1deA" TargetMode="Externa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dcm.co.uk/planne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hlinkClick r:id="rId2"/>
            <a:extLst>
              <a:ext uri="{FF2B5EF4-FFF2-40B4-BE49-F238E27FC236}">
                <a16:creationId xmlns:a16="http://schemas.microsoft.com/office/drawing/2014/main" id="{8099DF8D-7119-4117-B9D1-86EF72AA747C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25" t="10049" r="10381" b="6450"/>
          <a:stretch/>
        </p:blipFill>
        <p:spPr>
          <a:xfrm>
            <a:off x="6934200" y="1371600"/>
            <a:ext cx="6121400" cy="5092700"/>
          </a:xfrm>
        </p:spPr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3 September 2021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Simu Liu, </a:t>
            </a:r>
            <a:r>
              <a:rPr lang="en-US" dirty="0" err="1">
                <a:solidFill>
                  <a:schemeClr val="accent6"/>
                </a:solidFill>
              </a:rPr>
              <a:t>Awkwafina</a:t>
            </a:r>
            <a:r>
              <a:rPr lang="en-US" dirty="0">
                <a:solidFill>
                  <a:schemeClr val="accent6"/>
                </a:solidFill>
              </a:rPr>
              <a:t>, Tony Chiu-Wai Leung, Michelle Yeoh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Destin Daniel </a:t>
            </a:r>
            <a:r>
              <a:rPr lang="en-US" dirty="0" err="1">
                <a:solidFill>
                  <a:schemeClr val="accent6"/>
                </a:solidFill>
              </a:rPr>
              <a:t>Cretton</a:t>
            </a:r>
            <a:r>
              <a:rPr lang="en-US" dirty="0">
                <a:solidFill>
                  <a:schemeClr val="accent6"/>
                </a:solidFill>
              </a:rPr>
              <a:t> (</a:t>
            </a:r>
            <a:r>
              <a:rPr lang="en-US" i="1" dirty="0">
                <a:solidFill>
                  <a:schemeClr val="accent6"/>
                </a:solidFill>
              </a:rPr>
              <a:t>Just Mercy, Short Term 12</a:t>
            </a:r>
            <a:r>
              <a:rPr lang="en-US" dirty="0">
                <a:solidFill>
                  <a:schemeClr val="accent6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Black Panther, Avengers: Endgame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Marvel expands it’s diverse slate of superhero offerings with this China-set origin story brimming with reliable stars and fresh young talent.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6-34 Men Index: 286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.6m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r>
              <a:rPr lang="en-GB" b="0" dirty="0"/>
              <a:t>The movie, based on Marvel Comics, will focus on Shang-Chi; 'The Master of Kung-Fu'.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Shang-chi and the legend of the ten ring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GB" sz="1400" dirty="0">
                <a:solidFill>
                  <a:schemeClr val="accent6"/>
                </a:solidFill>
              </a:rPr>
              <a:t>Marvel brings a new character to the big scree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hlinkClick r:id="rId4"/>
              </a:rPr>
              <a:t>Plan your campaign</a:t>
            </a: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084757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16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Shang-chi and the legend of the ten rings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3 2021</dc:title>
  <dc:creator/>
  <dc:description>Shang-chi and the legend of the ten rings</dc:description>
  <cp:lastModifiedBy/>
  <cp:revision>1</cp:revision>
  <dcterms:created xsi:type="dcterms:W3CDTF">2019-03-25T11:13:20Z</dcterms:created>
  <dcterms:modified xsi:type="dcterms:W3CDTF">2021-07-07T10:43:52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3 2021</vt:lpwstr>
  </property>
  <property fmtid="{D5CDD505-2E9C-101B-9397-08002B2CF9AE}" pid="4" name="SlideDescription">
    <vt:lpwstr>Shang-chi and the legend of the ten rings</vt:lpwstr>
  </property>
</Properties>
</file>